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3"/>
  </p:notesMasterIdLst>
  <p:handoutMasterIdLst>
    <p:handoutMasterId r:id="rId44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8" r:id="rId12"/>
    <p:sldId id="349" r:id="rId13"/>
    <p:sldId id="351" r:id="rId14"/>
    <p:sldId id="350" r:id="rId15"/>
    <p:sldId id="352" r:id="rId16"/>
    <p:sldId id="353" r:id="rId17"/>
    <p:sldId id="354" r:id="rId18"/>
    <p:sldId id="344" r:id="rId19"/>
    <p:sldId id="321" r:id="rId20"/>
    <p:sldId id="322" r:id="rId21"/>
    <p:sldId id="345" r:id="rId22"/>
    <p:sldId id="320" r:id="rId23"/>
    <p:sldId id="323" r:id="rId24"/>
    <p:sldId id="324" r:id="rId25"/>
    <p:sldId id="325" r:id="rId26"/>
    <p:sldId id="347" r:id="rId27"/>
    <p:sldId id="338" r:id="rId28"/>
    <p:sldId id="326" r:id="rId29"/>
    <p:sldId id="327" r:id="rId30"/>
    <p:sldId id="328" r:id="rId31"/>
    <p:sldId id="339" r:id="rId32"/>
    <p:sldId id="329" r:id="rId33"/>
    <p:sldId id="330" r:id="rId34"/>
    <p:sldId id="331" r:id="rId35"/>
    <p:sldId id="346" r:id="rId36"/>
    <p:sldId id="340" r:id="rId37"/>
    <p:sldId id="332" r:id="rId38"/>
    <p:sldId id="333" r:id="rId39"/>
    <p:sldId id="334" r:id="rId40"/>
    <p:sldId id="335" r:id="rId41"/>
    <p:sldId id="336" r:id="rId42"/>
  </p:sldIdLst>
  <p:sldSz cx="9144000" cy="6858000" type="screen4x3"/>
  <p:notesSz cx="6858000" cy="9144000"/>
  <p:custDataLst>
    <p:tags r:id="rId4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4" d="100"/>
          <a:sy n="114" d="100"/>
        </p:scale>
        <p:origin x="-84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gs" Target="tags/tag1.xml"/><Relationship Id="rId47" Type="http://schemas.openxmlformats.org/officeDocument/2006/relationships/presProps" Target="presProps.xml"/><Relationship Id="rId48" Type="http://schemas.openxmlformats.org/officeDocument/2006/relationships/viewProps" Target="viewProps.xml"/><Relationship Id="rId49" Type="http://schemas.openxmlformats.org/officeDocument/2006/relationships/theme" Target="theme/theme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5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notesMaster" Target="notesMasters/notesMaster1.xml"/><Relationship Id="rId44" Type="http://schemas.openxmlformats.org/officeDocument/2006/relationships/handoutMaster" Target="handoutMasters/handoutMaster1.xml"/><Relationship Id="rId45" Type="http://schemas.openxmlformats.org/officeDocument/2006/relationships/printerSettings" Target="printerSettings/printerSettings1.bin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</dgm:pt>
    <dgm:pt modelId="{490BACCA-3EE7-FA48-8554-19FB2EE8273B}" type="pres">
      <dgm:prSet presAssocID="{D77DBDB0-AA14-6344-B997-F7C9AAB1393F}" presName="connTx" presStyleLbl="parChTrans1D2" presStyleIdx="0" presStyleCnt="9"/>
      <dgm:spPr/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596E5DA9-0EBB-AB46-9359-F7E79B076A97}" type="presOf" srcId="{90FBF026-5068-6043-A75B-344D047E346D}" destId="{2242491C-75CB-654B-ABCA-74AF8E25B4E8}" srcOrd="0" destOrd="0" presId="urn:microsoft.com/office/officeart/2008/layout/HorizontalMultiLevelHierarchy"/>
    <dgm:cxn modelId="{DF784A81-5147-C047-A13C-7D4FA66F7993}" type="presOf" srcId="{C0976C3D-B466-7D45-ABFB-2E3685B2F19C}" destId="{D35EA19E-870C-2F44-A620-E6B51FB20589}" srcOrd="0" destOrd="0" presId="urn:microsoft.com/office/officeart/2008/layout/HorizontalMultiLevelHierarchy"/>
    <dgm:cxn modelId="{A3883D13-B28C-B240-A973-65E9D346952D}" type="presOf" srcId="{7E0C02E8-17C2-874D-B6DE-8E3A1D3437C9}" destId="{448042B3-2CED-424C-815C-8FD3B3AD8A39}" srcOrd="0" destOrd="0" presId="urn:microsoft.com/office/officeart/2008/layout/HorizontalMultiLevelHierarchy"/>
    <dgm:cxn modelId="{8420CC1C-F60F-CF48-9E6A-ABE15FFDB34D}" type="presOf" srcId="{08733529-A5F0-F14D-8E75-74214329B040}" destId="{393A7F55-569D-7A48-ACE0-063418018375}" srcOrd="0" destOrd="0" presId="urn:microsoft.com/office/officeart/2008/layout/HorizontalMultiLevelHierarchy"/>
    <dgm:cxn modelId="{1515DF52-2E5D-D040-91E8-45ECE0635940}" type="presOf" srcId="{08733529-A5F0-F14D-8E75-74214329B040}" destId="{A635BF91-C219-EB46-A0CA-F8A2CE3D7BF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CD9649C8-94B6-4649-8451-31DF59EDA092}" type="presOf" srcId="{73DD7058-02B4-D24C-9D13-AF75375EF8E6}" destId="{55365CED-83D4-194F-A914-2CFC37CD9B4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7C548194-EF2A-FA45-B394-54980E1FF607}" type="presOf" srcId="{B4B50EEB-1538-DF45-B07F-7D0FD83C8ED3}" destId="{91975744-72FE-E947-98E3-ECF3B2E7C3DC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FAF94CDC-D9FE-9E49-B86F-AA31BBDE9C3C}" type="presOf" srcId="{488E1B12-EE7C-9246-8169-00D4E05307C4}" destId="{5E781A07-1968-A143-88EC-827822313B55}" srcOrd="0" destOrd="0" presId="urn:microsoft.com/office/officeart/2008/layout/HorizontalMultiLevelHierarchy"/>
    <dgm:cxn modelId="{7B6B3500-7666-AF41-9F8B-D49EF07F5534}" type="presOf" srcId="{63D1AE09-4F57-A443-A1FD-2A3034962097}" destId="{B7A5E06F-5B4B-C947-BFA6-C1FA5998CE54}" srcOrd="0" destOrd="0" presId="urn:microsoft.com/office/officeart/2008/layout/HorizontalMultiLevelHierarchy"/>
    <dgm:cxn modelId="{92961730-6AFE-AC4B-A72C-96AB10248BC1}" type="presOf" srcId="{B8771036-12B2-D843-AA17-BB631BA3F87D}" destId="{F9B786D6-8B73-AC47-BEA7-3780A17C3E39}" srcOrd="0" destOrd="0" presId="urn:microsoft.com/office/officeart/2008/layout/HorizontalMultiLevelHierarchy"/>
    <dgm:cxn modelId="{673593B2-C23E-7E4E-A292-3726E58DCA7C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C7358124-9215-C947-AD7C-91D47A7A474A}" type="presOf" srcId="{1333B56B-0FB7-DB46-BFA8-14BA9E09141B}" destId="{9E30CAA0-C8DA-7340-9AC5-F7AFBAE25743}" srcOrd="0" destOrd="0" presId="urn:microsoft.com/office/officeart/2008/layout/HorizontalMultiLevelHierarchy"/>
    <dgm:cxn modelId="{7DE0F9DB-B59B-414E-A525-437BD810A9A6}" type="presOf" srcId="{07A4D93E-7AFB-4E4D-8384-CFBE7085BD56}" destId="{9D34DFA2-4C7C-5642-ADF0-8F3EDFBC71AF}" srcOrd="1" destOrd="0" presId="urn:microsoft.com/office/officeart/2008/layout/HorizontalMultiLevelHierarchy"/>
    <dgm:cxn modelId="{E3EF89C3-03FF-1F42-B9F6-FB9916F91F74}" type="presOf" srcId="{174F7A28-653D-6F45-9860-935E35504EE1}" destId="{4D444EFA-484D-8B49-B53F-73AE5DAC83CB}" srcOrd="0" destOrd="0" presId="urn:microsoft.com/office/officeart/2008/layout/HorizontalMultiLevelHierarchy"/>
    <dgm:cxn modelId="{83A9D7E3-BF91-D044-B9EA-094B8D42F1A7}" type="presOf" srcId="{63D1AE09-4F57-A443-A1FD-2A3034962097}" destId="{04D949B2-6FA5-4948-B335-DDA85E4E65B1}" srcOrd="1" destOrd="0" presId="urn:microsoft.com/office/officeart/2008/layout/HorizontalMultiLevelHierarchy"/>
    <dgm:cxn modelId="{BE9AA24D-6FB4-5A45-BF16-7F2182312BA8}" type="presOf" srcId="{B3C905E3-C669-9942-AEC9-21A47474CEB4}" destId="{996189F3-00B3-7D49-A5FC-5430A26FB618}" srcOrd="0" destOrd="0" presId="urn:microsoft.com/office/officeart/2008/layout/HorizontalMultiLevelHierarchy"/>
    <dgm:cxn modelId="{92AE6D2D-72C1-6247-BD37-D54D0F9CD2C3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1786DD07-186A-F643-BC63-08C9978ED3FD}" type="presOf" srcId="{5E2A7D5A-EFB6-9C4F-A960-3D6903C39497}" destId="{E59B7B1E-3287-FB43-A405-2A84667315EC}" srcOrd="1" destOrd="0" presId="urn:microsoft.com/office/officeart/2008/layout/HorizontalMultiLevelHierarchy"/>
    <dgm:cxn modelId="{D66D14E9-DE0D-534D-B9AC-58F40150A11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B3467D6F-26EB-6D42-8E86-41C381E0AA0D}" type="presOf" srcId="{B3C905E3-C669-9942-AEC9-21A47474CEB4}" destId="{DB79995B-B315-9C4C-BCA0-97AF2CF960CD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88517F6-7A02-5E46-9A1D-F4C35E56C8CD}" type="presOf" srcId="{B4B50EEB-1538-DF45-B07F-7D0FD83C8ED3}" destId="{7C4C248C-9225-884B-A9F0-E626AEAE24C9}" srcOrd="1" destOrd="0" presId="urn:microsoft.com/office/officeart/2008/layout/HorizontalMultiLevelHierarchy"/>
    <dgm:cxn modelId="{D499A4F8-3B0C-A649-B133-E56DAFEEE874}" type="presOf" srcId="{0726F871-37F4-AB40-AF73-6656D7E9C85D}" destId="{613226CB-11A4-C549-82A6-64B9BCFE1002}" srcOrd="0" destOrd="0" presId="urn:microsoft.com/office/officeart/2008/layout/HorizontalMultiLevelHierarchy"/>
    <dgm:cxn modelId="{EFFE0825-C9C9-1F46-87D0-5166387DDEB0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B42955EF-3C1D-E54E-B5F3-EBEAC11AFBE8}" type="presOf" srcId="{80BD7623-DCEC-2448-AB85-7A6B177B6EBB}" destId="{73B69BAE-7567-8E4E-A9B2-D2862F6B978E}" srcOrd="0" destOrd="0" presId="urn:microsoft.com/office/officeart/2008/layout/HorizontalMultiLevelHierarchy"/>
    <dgm:cxn modelId="{DF84F499-5987-7942-9B29-331BD9E1334A}" type="presOf" srcId="{5ADEDBF8-717E-F946-B11E-4CC50D9988C8}" destId="{AB33012A-8C54-6245-96E8-E0111C081E33}" srcOrd="1" destOrd="0" presId="urn:microsoft.com/office/officeart/2008/layout/HorizontalMultiLevelHierarchy"/>
    <dgm:cxn modelId="{2045C2C3-F306-124B-BFB9-B69FD743E004}" type="presOf" srcId="{8B212141-5DD9-384A-A240-561E72DAAF7B}" destId="{21C89BDE-E13D-974B-B17D-6B6CDBB2C8DB}" srcOrd="0" destOrd="0" presId="urn:microsoft.com/office/officeart/2008/layout/HorizontalMultiLevelHierarchy"/>
    <dgm:cxn modelId="{892A97E9-8077-4A44-8CEE-C0D04EE46B18}" type="presOf" srcId="{9EB1846C-ABB5-9E44-B030-7BE73C498E59}" destId="{60914178-E972-6747-98A5-9B1042D21399}" srcOrd="0" destOrd="0" presId="urn:microsoft.com/office/officeart/2008/layout/HorizontalMultiLevelHierarchy"/>
    <dgm:cxn modelId="{7C31D414-F671-514C-B383-01CBECFF0309}" type="presOf" srcId="{9EB1846C-ABB5-9E44-B030-7BE73C498E59}" destId="{03FF4E40-A0E8-E040-A52F-D68379DCC349}" srcOrd="1" destOrd="0" presId="urn:microsoft.com/office/officeart/2008/layout/HorizontalMultiLevelHierarchy"/>
    <dgm:cxn modelId="{240D990C-DFCA-8343-8E1E-FA3DAF484168}" type="presOf" srcId="{5E2A7D5A-EFB6-9C4F-A960-3D6903C39497}" destId="{1442578F-E924-E34F-9FA5-3F4C2CF65BC9}" srcOrd="0" destOrd="0" presId="urn:microsoft.com/office/officeart/2008/layout/HorizontalMultiLevelHierarchy"/>
    <dgm:cxn modelId="{F1363CAC-EEFF-5843-91D6-2E40C8E51787}" type="presOf" srcId="{134C8002-4160-B046-917F-B9172D6D011E}" destId="{569810E7-365A-FB48-A979-23DA3465EF4F}" srcOrd="1" destOrd="0" presId="urn:microsoft.com/office/officeart/2008/layout/HorizontalMultiLevelHierarchy"/>
    <dgm:cxn modelId="{0F897E46-B0CF-5744-A295-D30809B8A544}" type="presOf" srcId="{90FBF026-5068-6043-A75B-344D047E346D}" destId="{62990B64-CF79-7146-BF7B-48A759C6E310}" srcOrd="1" destOrd="0" presId="urn:microsoft.com/office/officeart/2008/layout/HorizontalMultiLevelHierarchy"/>
    <dgm:cxn modelId="{65187BDB-537E-7244-91B6-82D8533F31EE}" type="presOf" srcId="{73DD7058-02B4-D24C-9D13-AF75375EF8E6}" destId="{12E46C15-0F90-7843-8745-7EFB583D5A38}" srcOrd="1" destOrd="0" presId="urn:microsoft.com/office/officeart/2008/layout/HorizontalMultiLevelHierarchy"/>
    <dgm:cxn modelId="{F3EC3A38-8CC8-0B49-901F-E9AC5056AFC6}" type="presOf" srcId="{BBD19103-9913-2A49-AB85-F021773D5328}" destId="{6FA82A28-C585-714B-9AF5-DA995FB3DF5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79D9755-9C23-9D40-8A9B-4BEE5F52EBEB}" type="presOf" srcId="{BBD19103-9913-2A49-AB85-F021773D5328}" destId="{64F502CF-3E90-0B4E-886C-91AB3F51938D}" srcOrd="0" destOrd="0" presId="urn:microsoft.com/office/officeart/2008/layout/HorizontalMultiLevelHierarchy"/>
    <dgm:cxn modelId="{7CA7FA3B-EC61-BE4A-A03C-BC3EB9E3A3FE}" type="presOf" srcId="{6577C284-4D20-2C4A-88D4-29EB6FEAC9C2}" destId="{A3F719CD-4C36-CF49-B90F-B8B40A2B29D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5B0FA2-819A-8148-B1A8-692FD429DE79}" type="presOf" srcId="{5ADEDBF8-717E-F946-B11E-4CC50D9988C8}" destId="{D778007E-9974-2C41-910F-E1E5562B090A}" srcOrd="0" destOrd="0" presId="urn:microsoft.com/office/officeart/2008/layout/HorizontalMultiLevelHierarchy"/>
    <dgm:cxn modelId="{ED887060-66C9-9643-9687-5F37348473DF}" type="presOf" srcId="{516F75D9-69F5-0544-995D-CFB72352B59F}" destId="{887F982A-9047-D440-AFAC-0FD9C008886A}" srcOrd="0" destOrd="0" presId="urn:microsoft.com/office/officeart/2008/layout/HorizontalMultiLevelHierarchy"/>
    <dgm:cxn modelId="{10A3D66D-1948-8B41-820E-A75EF8D5EA82}" type="presOf" srcId="{11D7D97A-F1CC-6A49-92BA-1094CF9B8EE3}" destId="{84732D04-01E1-2742-A082-1195BCDCDEC2}" srcOrd="0" destOrd="0" presId="urn:microsoft.com/office/officeart/2008/layout/HorizontalMultiLevelHierarchy"/>
    <dgm:cxn modelId="{FA5059C7-3C7F-9047-B480-11174F1D8544}" type="presOf" srcId="{07A4D93E-7AFB-4E4D-8384-CFBE7085BD56}" destId="{42308E2A-E89A-524C-8598-CEBE02495F63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AE6AEE2-0319-6C4A-AA31-3C5F636BA12E}" type="presOf" srcId="{6577C284-4D20-2C4A-88D4-29EB6FEAC9C2}" destId="{348A166D-A55E-9147-99A1-FB87A4CF61A8}" srcOrd="1" destOrd="0" presId="urn:microsoft.com/office/officeart/2008/layout/HorizontalMultiLevelHierarchy"/>
    <dgm:cxn modelId="{B85E50B6-7E0B-1B40-86AB-B2374F47197F}" type="presOf" srcId="{BA9C693C-1CF5-6E4E-A8C4-1E304AFD6DF5}" destId="{99E936FD-8649-9640-96D2-9202E1CEC417}" srcOrd="0" destOrd="0" presId="urn:microsoft.com/office/officeart/2008/layout/HorizontalMultiLevelHierarchy"/>
    <dgm:cxn modelId="{98EB6EA6-51B8-AF49-8248-908EDC7E299E}" type="presParOf" srcId="{613226CB-11A4-C549-82A6-64B9BCFE1002}" destId="{3BA40406-1E55-1642-A22A-B49F5A173AC8}" srcOrd="0" destOrd="0" presId="urn:microsoft.com/office/officeart/2008/layout/HorizontalMultiLevelHierarchy"/>
    <dgm:cxn modelId="{16F361DE-E869-FB40-A622-6FF20F74BC71}" type="presParOf" srcId="{3BA40406-1E55-1642-A22A-B49F5A173AC8}" destId="{99E936FD-8649-9640-96D2-9202E1CEC417}" srcOrd="0" destOrd="0" presId="urn:microsoft.com/office/officeart/2008/layout/HorizontalMultiLevelHierarchy"/>
    <dgm:cxn modelId="{2C5E0A5A-0F84-D44D-B7C2-A7AA5C700BD3}" type="presParOf" srcId="{3BA40406-1E55-1642-A22A-B49F5A173AC8}" destId="{598DBB90-9C26-4C4B-AC1C-FF1827BF8D97}" srcOrd="1" destOrd="0" presId="urn:microsoft.com/office/officeart/2008/layout/HorizontalMultiLevelHierarchy"/>
    <dgm:cxn modelId="{38B03102-E12B-9340-A15F-A1CAA5B969D4}" type="presParOf" srcId="{598DBB90-9C26-4C4B-AC1C-FF1827BF8D97}" destId="{D778007E-9974-2C41-910F-E1E5562B090A}" srcOrd="0" destOrd="0" presId="urn:microsoft.com/office/officeart/2008/layout/HorizontalMultiLevelHierarchy"/>
    <dgm:cxn modelId="{279AE9EC-6F47-7645-B9A8-6CAB7E62D1C4}" type="presParOf" srcId="{D778007E-9974-2C41-910F-E1E5562B090A}" destId="{AB33012A-8C54-6245-96E8-E0111C081E33}" srcOrd="0" destOrd="0" presId="urn:microsoft.com/office/officeart/2008/layout/HorizontalMultiLevelHierarchy"/>
    <dgm:cxn modelId="{58822226-DC6A-DD4F-AC93-891CF7FA7BBC}" type="presParOf" srcId="{598DBB90-9C26-4C4B-AC1C-FF1827BF8D97}" destId="{BCA6FE17-8DB6-0242-A6E4-C7D3971EBD97}" srcOrd="1" destOrd="0" presId="urn:microsoft.com/office/officeart/2008/layout/HorizontalMultiLevelHierarchy"/>
    <dgm:cxn modelId="{CBD7D741-1A79-BA45-8D6B-C07E31E3AD79}" type="presParOf" srcId="{BCA6FE17-8DB6-0242-A6E4-C7D3971EBD97}" destId="{5E781A07-1968-A143-88EC-827822313B55}" srcOrd="0" destOrd="0" presId="urn:microsoft.com/office/officeart/2008/layout/HorizontalMultiLevelHierarchy"/>
    <dgm:cxn modelId="{9B50FF07-3A5A-CF4E-B3E6-33A6BBC8050F}" type="presParOf" srcId="{BCA6FE17-8DB6-0242-A6E4-C7D3971EBD97}" destId="{BDDED42C-20CE-EF4E-85AA-7830E9428B23}" srcOrd="1" destOrd="0" presId="urn:microsoft.com/office/officeart/2008/layout/HorizontalMultiLevelHierarchy"/>
    <dgm:cxn modelId="{BDBECF37-9660-E746-B32E-D925E79EF789}" type="presParOf" srcId="{598DBB90-9C26-4C4B-AC1C-FF1827BF8D97}" destId="{B7A5E06F-5B4B-C947-BFA6-C1FA5998CE54}" srcOrd="2" destOrd="0" presId="urn:microsoft.com/office/officeart/2008/layout/HorizontalMultiLevelHierarchy"/>
    <dgm:cxn modelId="{1C10B593-371B-8749-A5F6-BB8E4A0FC161}" type="presParOf" srcId="{B7A5E06F-5B4B-C947-BFA6-C1FA5998CE54}" destId="{04D949B2-6FA5-4948-B335-DDA85E4E65B1}" srcOrd="0" destOrd="0" presId="urn:microsoft.com/office/officeart/2008/layout/HorizontalMultiLevelHierarchy"/>
    <dgm:cxn modelId="{B3A078FC-6166-4744-AE91-840F513DFD4E}" type="presParOf" srcId="{598DBB90-9C26-4C4B-AC1C-FF1827BF8D97}" destId="{5B0B9041-BDB4-7141-9957-0BEAFB33AEFE}" srcOrd="3" destOrd="0" presId="urn:microsoft.com/office/officeart/2008/layout/HorizontalMultiLevelHierarchy"/>
    <dgm:cxn modelId="{BEA57426-AA57-C245-854F-3954009DF5CE}" type="presParOf" srcId="{5B0B9041-BDB4-7141-9957-0BEAFB33AEFE}" destId="{D35EA19E-870C-2F44-A620-E6B51FB20589}" srcOrd="0" destOrd="0" presId="urn:microsoft.com/office/officeart/2008/layout/HorizontalMultiLevelHierarchy"/>
    <dgm:cxn modelId="{3E200EEA-5263-304D-8AFC-6F078C5C06B4}" type="presParOf" srcId="{5B0B9041-BDB4-7141-9957-0BEAFB33AEFE}" destId="{62348515-9687-1045-ADA1-3184EC8CEC61}" srcOrd="1" destOrd="0" presId="urn:microsoft.com/office/officeart/2008/layout/HorizontalMultiLevelHierarchy"/>
    <dgm:cxn modelId="{034C1BCD-B550-DA47-88C0-1709B356AF56}" type="presParOf" srcId="{598DBB90-9C26-4C4B-AC1C-FF1827BF8D97}" destId="{42308E2A-E89A-524C-8598-CEBE02495F63}" srcOrd="4" destOrd="0" presId="urn:microsoft.com/office/officeart/2008/layout/HorizontalMultiLevelHierarchy"/>
    <dgm:cxn modelId="{BA5B33D7-7BD7-5E41-9D0B-D06007671A72}" type="presParOf" srcId="{42308E2A-E89A-524C-8598-CEBE02495F63}" destId="{9D34DFA2-4C7C-5642-ADF0-8F3EDFBC71AF}" srcOrd="0" destOrd="0" presId="urn:microsoft.com/office/officeart/2008/layout/HorizontalMultiLevelHierarchy"/>
    <dgm:cxn modelId="{B62CE59A-1370-004C-9A89-95D2A5F33068}" type="presParOf" srcId="{598DBB90-9C26-4C4B-AC1C-FF1827BF8D97}" destId="{5A37FE29-273D-2F4A-BA74-A981AFDF7035}" srcOrd="5" destOrd="0" presId="urn:microsoft.com/office/officeart/2008/layout/HorizontalMultiLevelHierarchy"/>
    <dgm:cxn modelId="{DD2F24C9-075D-3F41-B804-A12FFBBD9F02}" type="presParOf" srcId="{5A37FE29-273D-2F4A-BA74-A981AFDF7035}" destId="{887F982A-9047-D440-AFAC-0FD9C008886A}" srcOrd="0" destOrd="0" presId="urn:microsoft.com/office/officeart/2008/layout/HorizontalMultiLevelHierarchy"/>
    <dgm:cxn modelId="{1C367931-3A15-244C-8D34-05EC24A22807}" type="presParOf" srcId="{5A37FE29-273D-2F4A-BA74-A981AFDF7035}" destId="{740B7AF0-357F-C843-8A5C-C85C349471AE}" srcOrd="1" destOrd="0" presId="urn:microsoft.com/office/officeart/2008/layout/HorizontalMultiLevelHierarchy"/>
    <dgm:cxn modelId="{70E0364D-4253-5647-8BC5-22F68F6CAC4D}" type="presParOf" srcId="{598DBB90-9C26-4C4B-AC1C-FF1827BF8D97}" destId="{996189F3-00B3-7D49-A5FC-5430A26FB618}" srcOrd="6" destOrd="0" presId="urn:microsoft.com/office/officeart/2008/layout/HorizontalMultiLevelHierarchy"/>
    <dgm:cxn modelId="{718221B9-350F-8843-8F2D-9EDE4A85E947}" type="presParOf" srcId="{996189F3-00B3-7D49-A5FC-5430A26FB618}" destId="{DB79995B-B315-9C4C-BCA0-97AF2CF960CD}" srcOrd="0" destOrd="0" presId="urn:microsoft.com/office/officeart/2008/layout/HorizontalMultiLevelHierarchy"/>
    <dgm:cxn modelId="{C9918C80-DAB2-9644-948D-41DCB8486D47}" type="presParOf" srcId="{598DBB90-9C26-4C4B-AC1C-FF1827BF8D97}" destId="{7361FCA1-91C1-7340-94A4-772CB0377746}" srcOrd="7" destOrd="0" presId="urn:microsoft.com/office/officeart/2008/layout/HorizontalMultiLevelHierarchy"/>
    <dgm:cxn modelId="{1AA9A9EB-1EBA-AD42-B112-4B8BE171E44A}" type="presParOf" srcId="{7361FCA1-91C1-7340-94A4-772CB0377746}" destId="{9E30CAA0-C8DA-7340-9AC5-F7AFBAE25743}" srcOrd="0" destOrd="0" presId="urn:microsoft.com/office/officeart/2008/layout/HorizontalMultiLevelHierarchy"/>
    <dgm:cxn modelId="{49B5029C-A6E6-A74F-B3A6-9D01CA2567A5}" type="presParOf" srcId="{7361FCA1-91C1-7340-94A4-772CB0377746}" destId="{75AE1B1C-8672-CF47-8665-1AE6D32AB23F}" srcOrd="1" destOrd="0" presId="urn:microsoft.com/office/officeart/2008/layout/HorizontalMultiLevelHierarchy"/>
    <dgm:cxn modelId="{2080EA6A-30CA-854E-B25B-9C2C2E443515}" type="presParOf" srcId="{598DBB90-9C26-4C4B-AC1C-FF1827BF8D97}" destId="{1442578F-E924-E34F-9FA5-3F4C2CF65BC9}" srcOrd="8" destOrd="0" presId="urn:microsoft.com/office/officeart/2008/layout/HorizontalMultiLevelHierarchy"/>
    <dgm:cxn modelId="{891EC7AA-5606-3642-88F5-3ABFB324F19D}" type="presParOf" srcId="{1442578F-E924-E34F-9FA5-3F4C2CF65BC9}" destId="{E59B7B1E-3287-FB43-A405-2A84667315EC}" srcOrd="0" destOrd="0" presId="urn:microsoft.com/office/officeart/2008/layout/HorizontalMultiLevelHierarchy"/>
    <dgm:cxn modelId="{E1F87544-CE6F-9244-8156-790FE2C1F850}" type="presParOf" srcId="{598DBB90-9C26-4C4B-AC1C-FF1827BF8D97}" destId="{6188AF91-8F5E-7F4E-A0A2-13FA32167F53}" srcOrd="9" destOrd="0" presId="urn:microsoft.com/office/officeart/2008/layout/HorizontalMultiLevelHierarchy"/>
    <dgm:cxn modelId="{665CB16C-71AC-1F47-98A2-3A644660943A}" type="presParOf" srcId="{6188AF91-8F5E-7F4E-A0A2-13FA32167F53}" destId="{5167760A-1265-4C43-B02A-4A72B3B39F5E}" srcOrd="0" destOrd="0" presId="urn:microsoft.com/office/officeart/2008/layout/HorizontalMultiLevelHierarchy"/>
    <dgm:cxn modelId="{612B6457-38BD-F647-B7E0-D1F027489743}" type="presParOf" srcId="{6188AF91-8F5E-7F4E-A0A2-13FA32167F53}" destId="{21F2C295-F343-AC4A-8BE2-CFD4DAC170AE}" srcOrd="1" destOrd="0" presId="urn:microsoft.com/office/officeart/2008/layout/HorizontalMultiLevelHierarchy"/>
    <dgm:cxn modelId="{169A65CA-9001-AF4C-BFC8-2723F0C7B04E}" type="presParOf" srcId="{598DBB90-9C26-4C4B-AC1C-FF1827BF8D97}" destId="{A3F719CD-4C36-CF49-B90F-B8B40A2B29DE}" srcOrd="10" destOrd="0" presId="urn:microsoft.com/office/officeart/2008/layout/HorizontalMultiLevelHierarchy"/>
    <dgm:cxn modelId="{0C6F5644-E063-314A-A084-EA8E4B54FBE9}" type="presParOf" srcId="{A3F719CD-4C36-CF49-B90F-B8B40A2B29DE}" destId="{348A166D-A55E-9147-99A1-FB87A4CF61A8}" srcOrd="0" destOrd="0" presId="urn:microsoft.com/office/officeart/2008/layout/HorizontalMultiLevelHierarchy"/>
    <dgm:cxn modelId="{E89B179F-78FD-E64A-8576-0DDE898243B0}" type="presParOf" srcId="{598DBB90-9C26-4C4B-AC1C-FF1827BF8D97}" destId="{175E4F2C-D898-EE44-A4E7-79846E237DB4}" srcOrd="11" destOrd="0" presId="urn:microsoft.com/office/officeart/2008/layout/HorizontalMultiLevelHierarchy"/>
    <dgm:cxn modelId="{559B132C-18DF-D84A-877D-255EB2EABF6C}" type="presParOf" srcId="{175E4F2C-D898-EE44-A4E7-79846E237DB4}" destId="{921A596F-4B37-494E-B07C-17FD734C6406}" srcOrd="0" destOrd="0" presId="urn:microsoft.com/office/officeart/2008/layout/HorizontalMultiLevelHierarchy"/>
    <dgm:cxn modelId="{332B5A5E-5E0C-714B-986F-0604565E3828}" type="presParOf" srcId="{175E4F2C-D898-EE44-A4E7-79846E237DB4}" destId="{A9D518F9-DAB2-4E45-9ECB-39AA13A01564}" srcOrd="1" destOrd="0" presId="urn:microsoft.com/office/officeart/2008/layout/HorizontalMultiLevelHierarchy"/>
    <dgm:cxn modelId="{70F34F92-F171-A148-AEE3-BE91C73E0001}" type="presParOf" srcId="{598DBB90-9C26-4C4B-AC1C-FF1827BF8D97}" destId="{33DDFCA5-CC66-CC45-A430-EDF4DA53BA93}" srcOrd="12" destOrd="0" presId="urn:microsoft.com/office/officeart/2008/layout/HorizontalMultiLevelHierarchy"/>
    <dgm:cxn modelId="{210FA2B2-71AD-B246-8026-7F266CB41E76}" type="presParOf" srcId="{33DDFCA5-CC66-CC45-A430-EDF4DA53BA93}" destId="{569810E7-365A-FB48-A979-23DA3465EF4F}" srcOrd="0" destOrd="0" presId="urn:microsoft.com/office/officeart/2008/layout/HorizontalMultiLevelHierarchy"/>
    <dgm:cxn modelId="{AA67F609-8663-A345-944C-82AE254F1D24}" type="presParOf" srcId="{598DBB90-9C26-4C4B-AC1C-FF1827BF8D97}" destId="{299D8B01-3ECB-7743-BE59-35C50BD6249A}" srcOrd="13" destOrd="0" presId="urn:microsoft.com/office/officeart/2008/layout/HorizontalMultiLevelHierarchy"/>
    <dgm:cxn modelId="{A616FF04-B727-3D40-AF13-0DB40EC5DAAA}" type="presParOf" srcId="{299D8B01-3ECB-7743-BE59-35C50BD6249A}" destId="{03DEAF18-EC72-C047-A9B4-C65BE189F02C}" srcOrd="0" destOrd="0" presId="urn:microsoft.com/office/officeart/2008/layout/HorizontalMultiLevelHierarchy"/>
    <dgm:cxn modelId="{2FBECF34-D45D-C04A-A0B3-89BCDA5E72AE}" type="presParOf" srcId="{299D8B01-3ECB-7743-BE59-35C50BD6249A}" destId="{322C5A5A-9E25-6047-BB00-4DF750E135CE}" srcOrd="1" destOrd="0" presId="urn:microsoft.com/office/officeart/2008/layout/HorizontalMultiLevelHierarchy"/>
    <dgm:cxn modelId="{14C143F8-C144-924E-A348-3F6AF9E28F00}" type="presParOf" srcId="{322C5A5A-9E25-6047-BB00-4DF750E135CE}" destId="{393A7F55-569D-7A48-ACE0-063418018375}" srcOrd="0" destOrd="0" presId="urn:microsoft.com/office/officeart/2008/layout/HorizontalMultiLevelHierarchy"/>
    <dgm:cxn modelId="{05C6154C-A763-514A-BAAC-85D0DA2178F8}" type="presParOf" srcId="{393A7F55-569D-7A48-ACE0-063418018375}" destId="{A635BF91-C219-EB46-A0CA-F8A2CE3D7BF3}" srcOrd="0" destOrd="0" presId="urn:microsoft.com/office/officeart/2008/layout/HorizontalMultiLevelHierarchy"/>
    <dgm:cxn modelId="{4EEEA412-FD57-1441-B82F-60C76B122094}" type="presParOf" srcId="{322C5A5A-9E25-6047-BB00-4DF750E135CE}" destId="{55918953-A6CF-814A-89F9-551623EBC010}" srcOrd="1" destOrd="0" presId="urn:microsoft.com/office/officeart/2008/layout/HorizontalMultiLevelHierarchy"/>
    <dgm:cxn modelId="{75F9DE8D-7E25-2640-A9FE-D3AB79B1BF2F}" type="presParOf" srcId="{55918953-A6CF-814A-89F9-551623EBC010}" destId="{448042B3-2CED-424C-815C-8FD3B3AD8A39}" srcOrd="0" destOrd="0" presId="urn:microsoft.com/office/officeart/2008/layout/HorizontalMultiLevelHierarchy"/>
    <dgm:cxn modelId="{703A2D94-03F7-BD4E-B628-381AD229B2BA}" type="presParOf" srcId="{55918953-A6CF-814A-89F9-551623EBC010}" destId="{4C59A0B4-1525-104C-AAB2-E79163983336}" srcOrd="1" destOrd="0" presId="urn:microsoft.com/office/officeart/2008/layout/HorizontalMultiLevelHierarchy"/>
    <dgm:cxn modelId="{EB12EC7C-D29E-F84C-BAB1-052C23BCDC9F}" type="presParOf" srcId="{322C5A5A-9E25-6047-BB00-4DF750E135CE}" destId="{64F502CF-3E90-0B4E-886C-91AB3F51938D}" srcOrd="2" destOrd="0" presId="urn:microsoft.com/office/officeart/2008/layout/HorizontalMultiLevelHierarchy"/>
    <dgm:cxn modelId="{B6D3D8C8-8149-2D4D-AB06-3B683AECBDF2}" type="presParOf" srcId="{64F502CF-3E90-0B4E-886C-91AB3F51938D}" destId="{6FA82A28-C585-714B-9AF5-DA995FB3DF53}" srcOrd="0" destOrd="0" presId="urn:microsoft.com/office/officeart/2008/layout/HorizontalMultiLevelHierarchy"/>
    <dgm:cxn modelId="{CA42F704-DC15-8B42-9772-4D9151C53CD1}" type="presParOf" srcId="{322C5A5A-9E25-6047-BB00-4DF750E135CE}" destId="{EC8B6A62-9FAE-5045-A1A4-029DC2356DF7}" srcOrd="3" destOrd="0" presId="urn:microsoft.com/office/officeart/2008/layout/HorizontalMultiLevelHierarchy"/>
    <dgm:cxn modelId="{E9FDABC3-E5E5-AD49-9C1C-1065F28C4312}" type="presParOf" srcId="{EC8B6A62-9FAE-5045-A1A4-029DC2356DF7}" destId="{F9B786D6-8B73-AC47-BEA7-3780A17C3E39}" srcOrd="0" destOrd="0" presId="urn:microsoft.com/office/officeart/2008/layout/HorizontalMultiLevelHierarchy"/>
    <dgm:cxn modelId="{C5FADA09-4236-C449-9386-600593131B26}" type="presParOf" srcId="{EC8B6A62-9FAE-5045-A1A4-029DC2356DF7}" destId="{6E27147E-0C63-E041-AB6B-5C0E60851726}" srcOrd="1" destOrd="0" presId="urn:microsoft.com/office/officeart/2008/layout/HorizontalMultiLevelHierarchy"/>
    <dgm:cxn modelId="{061EBDEC-EDBA-8C45-9004-51561C75DFA7}" type="presParOf" srcId="{598DBB90-9C26-4C4B-AC1C-FF1827BF8D97}" destId="{60914178-E972-6747-98A5-9B1042D21399}" srcOrd="14" destOrd="0" presId="urn:microsoft.com/office/officeart/2008/layout/HorizontalMultiLevelHierarchy"/>
    <dgm:cxn modelId="{5D31ED59-C430-1542-8FA1-E1DADEBBBB11}" type="presParOf" srcId="{60914178-E972-6747-98A5-9B1042D21399}" destId="{03FF4E40-A0E8-E040-A52F-D68379DCC349}" srcOrd="0" destOrd="0" presId="urn:microsoft.com/office/officeart/2008/layout/HorizontalMultiLevelHierarchy"/>
    <dgm:cxn modelId="{1F6940B3-8557-AD46-BA06-7BFA3F9AA1D2}" type="presParOf" srcId="{598DBB90-9C26-4C4B-AC1C-FF1827BF8D97}" destId="{82D22835-936A-1D4B-AF7A-2D86C6FB8621}" srcOrd="15" destOrd="0" presId="urn:microsoft.com/office/officeart/2008/layout/HorizontalMultiLevelHierarchy"/>
    <dgm:cxn modelId="{EE2F6069-7A1A-8E45-A543-F903F3AE64B1}" type="presParOf" srcId="{82D22835-936A-1D4B-AF7A-2D86C6FB8621}" destId="{4D444EFA-484D-8B49-B53F-73AE5DAC83CB}" srcOrd="0" destOrd="0" presId="urn:microsoft.com/office/officeart/2008/layout/HorizontalMultiLevelHierarchy"/>
    <dgm:cxn modelId="{C9DA3AA8-69BA-E44D-92FD-8F5479DD652E}" type="presParOf" srcId="{82D22835-936A-1D4B-AF7A-2D86C6FB8621}" destId="{780003EA-E55D-2544-948D-2BA68EB5F8A9}" srcOrd="1" destOrd="0" presId="urn:microsoft.com/office/officeart/2008/layout/HorizontalMultiLevelHierarchy"/>
    <dgm:cxn modelId="{1C5C4C17-2AE4-2743-9B7F-14C87F0BEF59}" type="presParOf" srcId="{598DBB90-9C26-4C4B-AC1C-FF1827BF8D97}" destId="{91975744-72FE-E947-98E3-ECF3B2E7C3DC}" srcOrd="16" destOrd="0" presId="urn:microsoft.com/office/officeart/2008/layout/HorizontalMultiLevelHierarchy"/>
    <dgm:cxn modelId="{FA098043-934E-104F-A93B-9292E0867F34}" type="presParOf" srcId="{91975744-72FE-E947-98E3-ECF3B2E7C3DC}" destId="{7C4C248C-9225-884B-A9F0-E626AEAE24C9}" srcOrd="0" destOrd="0" presId="urn:microsoft.com/office/officeart/2008/layout/HorizontalMultiLevelHierarchy"/>
    <dgm:cxn modelId="{726EEF36-2229-9E48-BF5F-2CB034CC0F15}" type="presParOf" srcId="{598DBB90-9C26-4C4B-AC1C-FF1827BF8D97}" destId="{FD91877E-03C5-8D41-B768-0E4703294F6C}" srcOrd="17" destOrd="0" presId="urn:microsoft.com/office/officeart/2008/layout/HorizontalMultiLevelHierarchy"/>
    <dgm:cxn modelId="{69BC3D1A-5CB8-B347-8E19-6F1475204C83}" type="presParOf" srcId="{FD91877E-03C5-8D41-B768-0E4703294F6C}" destId="{73B69BAE-7567-8E4E-A9B2-D2862F6B978E}" srcOrd="0" destOrd="0" presId="urn:microsoft.com/office/officeart/2008/layout/HorizontalMultiLevelHierarchy"/>
    <dgm:cxn modelId="{5B09E22F-A872-7949-B66F-1223EEBAE760}" type="presParOf" srcId="{FD91877E-03C5-8D41-B768-0E4703294F6C}" destId="{27C85358-980A-884D-9DDA-63018758070E}" srcOrd="1" destOrd="0" presId="urn:microsoft.com/office/officeart/2008/layout/HorizontalMultiLevelHierarchy"/>
    <dgm:cxn modelId="{3F983835-3DBA-8F40-9B41-61EC6753AF6C}" type="presParOf" srcId="{27C85358-980A-884D-9DDA-63018758070E}" destId="{55365CED-83D4-194F-A914-2CFC37CD9B45}" srcOrd="0" destOrd="0" presId="urn:microsoft.com/office/officeart/2008/layout/HorizontalMultiLevelHierarchy"/>
    <dgm:cxn modelId="{241E492D-3F50-D540-802E-739BB1C8F543}" type="presParOf" srcId="{55365CED-83D4-194F-A914-2CFC37CD9B45}" destId="{12E46C15-0F90-7843-8745-7EFB583D5A38}" srcOrd="0" destOrd="0" presId="urn:microsoft.com/office/officeart/2008/layout/HorizontalMultiLevelHierarchy"/>
    <dgm:cxn modelId="{40177459-E576-9349-BFDF-E069212844C5}" type="presParOf" srcId="{27C85358-980A-884D-9DDA-63018758070E}" destId="{76889E03-95A4-234A-BE0C-87E6CEF02D37}" srcOrd="1" destOrd="0" presId="urn:microsoft.com/office/officeart/2008/layout/HorizontalMultiLevelHierarchy"/>
    <dgm:cxn modelId="{60DEC283-8251-2B40-BE85-3FF539FA476B}" type="presParOf" srcId="{76889E03-95A4-234A-BE0C-87E6CEF02D37}" destId="{21C89BDE-E13D-974B-B17D-6B6CDBB2C8DB}" srcOrd="0" destOrd="0" presId="urn:microsoft.com/office/officeart/2008/layout/HorizontalMultiLevelHierarchy"/>
    <dgm:cxn modelId="{8C54B87E-FFB9-554B-9BE4-C884CE14A056}" type="presParOf" srcId="{76889E03-95A4-234A-BE0C-87E6CEF02D37}" destId="{FB25556A-79E0-D042-8EE4-421CC8CFEFD5}" srcOrd="1" destOrd="0" presId="urn:microsoft.com/office/officeart/2008/layout/HorizontalMultiLevelHierarchy"/>
    <dgm:cxn modelId="{38AC4231-758A-0A45-8D0C-6F1E7924D01B}" type="presParOf" srcId="{27C85358-980A-884D-9DDA-63018758070E}" destId="{2242491C-75CB-654B-ABCA-74AF8E25B4E8}" srcOrd="2" destOrd="0" presId="urn:microsoft.com/office/officeart/2008/layout/HorizontalMultiLevelHierarchy"/>
    <dgm:cxn modelId="{BF650ADB-2376-3D4B-9E51-55519CE5CBBB}" type="presParOf" srcId="{2242491C-75CB-654B-ABCA-74AF8E25B4E8}" destId="{62990B64-CF79-7146-BF7B-48A759C6E310}" srcOrd="0" destOrd="0" presId="urn:microsoft.com/office/officeart/2008/layout/HorizontalMultiLevelHierarchy"/>
    <dgm:cxn modelId="{60A40344-CD08-264D-A45C-5708DC48801A}" type="presParOf" srcId="{27C85358-980A-884D-9DDA-63018758070E}" destId="{34BC8C0B-A669-9B42-82AD-78E158ADEE5B}" srcOrd="3" destOrd="0" presId="urn:microsoft.com/office/officeart/2008/layout/HorizontalMultiLevelHierarchy"/>
    <dgm:cxn modelId="{FA280171-1793-EE47-B5B3-0D48DF7E98B5}" type="presParOf" srcId="{34BC8C0B-A669-9B42-82AD-78E158ADEE5B}" destId="{84732D04-01E1-2742-A082-1195BCDCDEC2}" srcOrd="0" destOrd="0" presId="urn:microsoft.com/office/officeart/2008/layout/HorizontalMultiLevelHierarchy"/>
    <dgm:cxn modelId="{77FF3958-00FD-AF4D-B29C-EE7C4580E55B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7" Type="http://schemas.openxmlformats.org/officeDocument/2006/relationships/diagramData" Target="../diagrams/data4.xml"/><Relationship Id="rId8" Type="http://schemas.openxmlformats.org/officeDocument/2006/relationships/diagramLayout" Target="../diagrams/layout4.xml"/><Relationship Id="rId9" Type="http://schemas.openxmlformats.org/officeDocument/2006/relationships/diagramQuickStyle" Target="../diagrams/quickStyle4.xml"/><Relationship Id="rId10" Type="http://schemas.openxmlformats.org/officeDocument/2006/relationships/diagramColors" Target="../diagrams/colors4.xml"/><Relationship Id="rId11" Type="http://schemas.microsoft.com/office/2007/relationships/diagramDrawing" Target="../diagrams/drawing4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7" Type="http://schemas.openxmlformats.org/officeDocument/2006/relationships/diagramData" Target="../diagrams/data6.xml"/><Relationship Id="rId8" Type="http://schemas.openxmlformats.org/officeDocument/2006/relationships/diagramLayout" Target="../diagrams/layout6.xml"/><Relationship Id="rId9" Type="http://schemas.openxmlformats.org/officeDocument/2006/relationships/diagramQuickStyle" Target="../diagrams/quickStyle6.xml"/><Relationship Id="rId10" Type="http://schemas.openxmlformats.org/officeDocument/2006/relationships/diagramColors" Target="../diagrams/colors6.xml"/><Relationship Id="rId11" Type="http://schemas.microsoft.com/office/2007/relationships/diagramDrawing" Target="../diagrams/drawing6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4" Type="http://schemas.openxmlformats.org/officeDocument/2006/relationships/diagramQuickStyle" Target="../diagrams/quickStyle7.xml"/><Relationship Id="rId5" Type="http://schemas.openxmlformats.org/officeDocument/2006/relationships/diagramColors" Target="../diagrams/colors7.xml"/><Relationship Id="rId6" Type="http://schemas.microsoft.com/office/2007/relationships/diagramDrawing" Target="../diagrams/drawing7.xml"/><Relationship Id="rId7" Type="http://schemas.openxmlformats.org/officeDocument/2006/relationships/diagramData" Target="../diagrams/data8.xml"/><Relationship Id="rId8" Type="http://schemas.openxmlformats.org/officeDocument/2006/relationships/diagramLayout" Target="../diagrams/layout8.xml"/><Relationship Id="rId9" Type="http://schemas.openxmlformats.org/officeDocument/2006/relationships/diagramQuickStyle" Target="../diagrams/quickStyle8.xml"/><Relationship Id="rId10" Type="http://schemas.openxmlformats.org/officeDocument/2006/relationships/diagramColors" Target="../diagrams/colors8.xml"/><Relationship Id="rId11" Type="http://schemas.microsoft.com/office/2007/relationships/diagramDrawing" Target="../diagrams/drawing8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4" Type="http://schemas.openxmlformats.org/officeDocument/2006/relationships/diagramQuickStyle" Target="../diagrams/quickStyle9.xml"/><Relationship Id="rId5" Type="http://schemas.openxmlformats.org/officeDocument/2006/relationships/diagramColors" Target="../diagrams/colors9.xml"/><Relationship Id="rId6" Type="http://schemas.microsoft.com/office/2007/relationships/diagramDrawing" Target="../diagrams/drawing9.xml"/><Relationship Id="rId7" Type="http://schemas.openxmlformats.org/officeDocument/2006/relationships/diagramData" Target="../diagrams/data10.xml"/><Relationship Id="rId8" Type="http://schemas.openxmlformats.org/officeDocument/2006/relationships/diagramLayout" Target="../diagrams/layout10.xml"/><Relationship Id="rId9" Type="http://schemas.openxmlformats.org/officeDocument/2006/relationships/diagramQuickStyle" Target="../diagrams/quickStyle10.xml"/><Relationship Id="rId10" Type="http://schemas.openxmlformats.org/officeDocument/2006/relationships/diagramColors" Target="../diagrams/colors10.xml"/><Relationship Id="rId11" Type="http://schemas.microsoft.com/office/2007/relationships/diagramDrawing" Target="../diagrams/drawing10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4" Type="http://schemas.openxmlformats.org/officeDocument/2006/relationships/diagramQuickStyle" Target="../diagrams/quickStyle11.xml"/><Relationship Id="rId5" Type="http://schemas.openxmlformats.org/officeDocument/2006/relationships/diagramColors" Target="../diagrams/colors11.xml"/><Relationship Id="rId6" Type="http://schemas.microsoft.com/office/2007/relationships/diagramDrawing" Target="../diagrams/drawing11.xml"/><Relationship Id="rId7" Type="http://schemas.openxmlformats.org/officeDocument/2006/relationships/diagramData" Target="../diagrams/data12.xml"/><Relationship Id="rId8" Type="http://schemas.openxmlformats.org/officeDocument/2006/relationships/diagramLayout" Target="../diagrams/layout12.xml"/><Relationship Id="rId9" Type="http://schemas.openxmlformats.org/officeDocument/2006/relationships/diagramQuickStyle" Target="../diagrams/quickStyle12.xml"/><Relationship Id="rId10" Type="http://schemas.openxmlformats.org/officeDocument/2006/relationships/diagramColors" Target="../diagrams/colors12.xml"/><Relationship Id="rId11" Type="http://schemas.microsoft.com/office/2007/relationships/diagramDrawing" Target="../diagrams/drawing12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4" Type="http://schemas.openxmlformats.org/officeDocument/2006/relationships/diagramQuickStyle" Target="../diagrams/quickStyle13.xml"/><Relationship Id="rId5" Type="http://schemas.openxmlformats.org/officeDocument/2006/relationships/diagramColors" Target="../diagrams/colors13.xml"/><Relationship Id="rId6" Type="http://schemas.microsoft.com/office/2007/relationships/diagramDrawing" Target="../diagrams/drawing13.xml"/><Relationship Id="rId7" Type="http://schemas.openxmlformats.org/officeDocument/2006/relationships/diagramData" Target="../diagrams/data14.xml"/><Relationship Id="rId8" Type="http://schemas.openxmlformats.org/officeDocument/2006/relationships/diagramLayout" Target="../diagrams/layout14.xml"/><Relationship Id="rId9" Type="http://schemas.openxmlformats.org/officeDocument/2006/relationships/diagramQuickStyle" Target="../diagrams/quickStyle14.xml"/><Relationship Id="rId10" Type="http://schemas.openxmlformats.org/officeDocument/2006/relationships/diagramColors" Target="../diagrams/colors14.xml"/><Relationship Id="rId11" Type="http://schemas.microsoft.com/office/2007/relationships/diagramDrawing" Target="../diagrams/drawing14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4" Type="http://schemas.openxmlformats.org/officeDocument/2006/relationships/diagramQuickStyle" Target="../diagrams/quickStyle15.xml"/><Relationship Id="rId5" Type="http://schemas.openxmlformats.org/officeDocument/2006/relationships/diagramColors" Target="../diagrams/colors15.xml"/><Relationship Id="rId6" Type="http://schemas.microsoft.com/office/2007/relationships/diagramDrawing" Target="../diagrams/drawing15.xml"/><Relationship Id="rId7" Type="http://schemas.openxmlformats.org/officeDocument/2006/relationships/diagramData" Target="../diagrams/data16.xml"/><Relationship Id="rId8" Type="http://schemas.openxmlformats.org/officeDocument/2006/relationships/diagramLayout" Target="../diagrams/layout16.xml"/><Relationship Id="rId9" Type="http://schemas.openxmlformats.org/officeDocument/2006/relationships/diagramQuickStyle" Target="../diagrams/quickStyle16.xml"/><Relationship Id="rId10" Type="http://schemas.openxmlformats.org/officeDocument/2006/relationships/diagramColors" Target="../diagrams/colors16.xml"/><Relationship Id="rId11" Type="http://schemas.microsoft.com/office/2007/relationships/diagramDrawing" Target="../diagrams/drawing16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0.08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81878147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00360007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99966797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26401024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3195071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1517193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5766917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1941240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250885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r>
              <a:rPr lang="de-DE" dirty="0" err="1" smtClean="0"/>
              <a:t>ByteCode</a:t>
            </a:r>
            <a:r>
              <a:rPr lang="de-DE" dirty="0" smtClean="0"/>
              <a:t> Generierung für Mapping Objekte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2826</Words>
  <Application>Microsoft Macintosh PowerPoint</Application>
  <PresentationFormat>Bildschirmpräsentation (4:3)</PresentationFormat>
  <Paragraphs>887</Paragraphs>
  <Slides>4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1</vt:i4>
      </vt:variant>
    </vt:vector>
  </HeadingPairs>
  <TitlesOfParts>
    <vt:vector size="43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17</cp:revision>
  <dcterms:created xsi:type="dcterms:W3CDTF">2013-03-01T11:14:45Z</dcterms:created>
  <dcterms:modified xsi:type="dcterms:W3CDTF">2014-08-10T20:40:25Z</dcterms:modified>
</cp:coreProperties>
</file>